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41" r:id="rId1"/>
  </p:sldMasterIdLst>
  <p:sldIdLst>
    <p:sldId id="303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93" d="100"/>
          <a:sy n="93" d="100"/>
        </p:scale>
        <p:origin x="78" y="31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96641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 January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95429045-3766-4F29-9DAE-60166E1D396D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1127185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Recuperação até 40% do ar de sopr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6485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ARK: Sistema de recuperação de ar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lvl="0"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Otimização de custos</a:t>
            </a:r>
            <a:r>
              <a:rPr lang="fr-FR" dirty="0">
                <a:solidFill>
                  <a:srgbClr val="000000"/>
                </a:solidFill>
              </a:rPr>
              <a:t>, </a:t>
            </a:r>
            <a:r>
              <a:rPr lang="fr-FR">
                <a:solidFill>
                  <a:srgbClr val="000000"/>
                </a:solidFill>
              </a:rPr>
              <a:t>Sustentabilidade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opradoras Séries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543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E VANTAGENS</a:t>
                      </a:r>
                      <a:endParaRPr kumimoji="0" lang="pt-B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ÇÃO</a:t>
                      </a:r>
                      <a:endParaRPr kumimoji="0" lang="pt-B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Economia de ar a 40b de pelo menos 15% e até 40% </a:t>
                      </a:r>
                      <a:r>
                        <a:rPr lang="en-US" sz="1200" b="0" dirty="0"/>
                        <a:t>dependendo dos parâmetros do proces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Economia de ar a 7b de 100% </a:t>
                      </a:r>
                      <a:r>
                        <a:rPr lang="en-US" sz="1200" b="0" dirty="0"/>
                        <a:t>em 95% das aplicações. Basta 20 Nm3/h em fase </a:t>
                      </a:r>
                      <a:br/>
                      <a:r>
                        <a:rPr lang="en-US" sz="1200" b="0" dirty="0"/>
                        <a:t>de arranque para iniciar o sistema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Qualidade constante da garrafa </a:t>
                      </a:r>
                      <a:r>
                        <a:rPr lang="en-US" sz="1200" b="0" dirty="0"/>
                        <a:t>sem variação nos parâmetros do proces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/>
                        <a:t>Confiabilidade no funcionamento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Não necessita manutenção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Investimento reduzido </a:t>
                      </a:r>
                      <a:r>
                        <a:rPr lang="en-US" sz="1200" b="0" dirty="0"/>
                        <a:t>visto que os compressores são dimensionados para se ajustarem perfeitamente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O volume de ar recuperado depende do tipo de sopradoras e também das condições de produção</a:t>
                      </a:r>
                    </a:p>
                    <a:p>
                      <a:pPr marL="357188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adência da máquina, número de estações de sopro, pressão de pré-sopro e sopro, capacidade da garrafa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O ar recuperado pode ser reutilizado para produzir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r de pré-sopro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r de estiramento e de acionamento dos cilindros dos injetores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r a baixa pressão para fora da máquina </a:t>
                      </a:r>
                      <a:br>
                        <a:rPr dirty="0"/>
                      </a:b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(a sopradora atua como um compressor de BP)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 versão PCC mínima requerida para instalar este O&amp;U é a V2.02, nas versões anteriores é necessário uma atualização do PCC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1" name="Picture 11" descr="543_serie 2_a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4842" y="4637902"/>
            <a:ext cx="1660184" cy="1020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9BA2F140-6FE1-4C30-AF16-A2DB32969641}"/>
              </a:ext>
            </a:extLst>
          </p:cNvPr>
          <p:cNvSpPr/>
          <p:nvPr/>
        </p:nvSpPr>
        <p:spPr>
          <a:xfrm>
            <a:off x="4768071" y="1743075"/>
            <a:ext cx="3872692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ÇÃO</a:t>
            </a:r>
            <a:endParaRPr kumimoji="0" lang="pt-BR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0936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140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LIOMT</vt:lpstr>
      <vt:lpstr>think-cell Folie</vt:lpstr>
      <vt:lpstr>Recuperação até 40% do ar de sopr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55</cp:revision>
  <dcterms:created xsi:type="dcterms:W3CDTF">2014-05-22T13:23:46Z</dcterms:created>
  <dcterms:modified xsi:type="dcterms:W3CDTF">2021-01-04T16:03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2:37:41.0412241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1:08:29.972408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1:08:29.972408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